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sldIdLst>
    <p:sldId id="508" r:id="rId5"/>
    <p:sldId id="511" r:id="rId6"/>
    <p:sldId id="362" r:id="rId7"/>
    <p:sldId id="363" r:id="rId8"/>
    <p:sldId id="503" r:id="rId9"/>
    <p:sldId id="510" r:id="rId10"/>
    <p:sldId id="364" r:id="rId11"/>
    <p:sldId id="505" r:id="rId12"/>
    <p:sldId id="506" r:id="rId13"/>
    <p:sldId id="294" r:id="rId14"/>
    <p:sldId id="390" r:id="rId15"/>
    <p:sldId id="375" r:id="rId16"/>
    <p:sldId id="309" r:id="rId17"/>
    <p:sldId id="283" r:id="rId18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54136" autoAdjust="0"/>
  </p:normalViewPr>
  <p:slideViewPr>
    <p:cSldViewPr snapToGrid="0">
      <p:cViewPr varScale="1">
        <p:scale>
          <a:sx n="59" d="100"/>
          <a:sy n="59" d="100"/>
        </p:scale>
        <p:origin x="253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derikke Sofie Bech Høyer" userId="242ee977-0f26-4a5c-be07-2271ba5917d1" providerId="ADAL" clId="{3BD1BB72-7E4C-4F35-890C-F5CEDDAE4C8A}"/>
    <pc:docChg chg="modSld">
      <pc:chgData name="Frederikke Sofie Bech Høyer" userId="242ee977-0f26-4a5c-be07-2271ba5917d1" providerId="ADAL" clId="{3BD1BB72-7E4C-4F35-890C-F5CEDDAE4C8A}" dt="2019-02-20T11:55:36.192" v="21" actId="20577"/>
      <pc:docMkLst>
        <pc:docMk/>
      </pc:docMkLst>
      <pc:sldChg chg="modSp modNotesTx">
        <pc:chgData name="Frederikke Sofie Bech Høyer" userId="242ee977-0f26-4a5c-be07-2271ba5917d1" providerId="ADAL" clId="{3BD1BB72-7E4C-4F35-890C-F5CEDDAE4C8A}" dt="2019-02-20T11:55:25.152" v="17" actId="20577"/>
        <pc:sldMkLst>
          <pc:docMk/>
          <pc:sldMk cId="1108444095" sldId="294"/>
        </pc:sldMkLst>
        <pc:picChg chg="mod">
          <ac:chgData name="Frederikke Sofie Bech Høyer" userId="242ee977-0f26-4a5c-be07-2271ba5917d1" providerId="ADAL" clId="{3BD1BB72-7E4C-4F35-890C-F5CEDDAE4C8A}" dt="2019-02-20T11:54:09.963" v="10" actId="208"/>
          <ac:picMkLst>
            <pc:docMk/>
            <pc:sldMk cId="1108444095" sldId="294"/>
            <ac:picMk id="3" creationId="{7A03901A-4AE5-4882-9FC2-9B50A7C61C59}"/>
          </ac:picMkLst>
        </pc:picChg>
      </pc:sldChg>
      <pc:sldChg chg="modSp modNotesTx">
        <pc:chgData name="Frederikke Sofie Bech Høyer" userId="242ee977-0f26-4a5c-be07-2271ba5917d1" providerId="ADAL" clId="{3BD1BB72-7E4C-4F35-890C-F5CEDDAE4C8A}" dt="2019-02-20T11:55:36.192" v="21" actId="20577"/>
        <pc:sldMkLst>
          <pc:docMk/>
          <pc:sldMk cId="123062039" sldId="309"/>
        </pc:sldMkLst>
        <pc:picChg chg="mod">
          <ac:chgData name="Frederikke Sofie Bech Høyer" userId="242ee977-0f26-4a5c-be07-2271ba5917d1" providerId="ADAL" clId="{3BD1BB72-7E4C-4F35-890C-F5CEDDAE4C8A}" dt="2019-02-20T11:54:23.119" v="12" actId="208"/>
          <ac:picMkLst>
            <pc:docMk/>
            <pc:sldMk cId="123062039" sldId="309"/>
            <ac:picMk id="3" creationId="{262A7BD5-EDBA-416C-8B35-3CAEAEDF5993}"/>
          </ac:picMkLst>
        </pc:picChg>
      </pc:sldChg>
      <pc:sldChg chg="modSp">
        <pc:chgData name="Frederikke Sofie Bech Høyer" userId="242ee977-0f26-4a5c-be07-2271ba5917d1" providerId="ADAL" clId="{3BD1BB72-7E4C-4F35-890C-F5CEDDAE4C8A}" dt="2019-02-20T11:53:40.259" v="5" actId="20577"/>
        <pc:sldMkLst>
          <pc:docMk/>
          <pc:sldMk cId="879973991" sldId="363"/>
        </pc:sldMkLst>
        <pc:spChg chg="mod">
          <ac:chgData name="Frederikke Sofie Bech Høyer" userId="242ee977-0f26-4a5c-be07-2271ba5917d1" providerId="ADAL" clId="{3BD1BB72-7E4C-4F35-890C-F5CEDDAE4C8A}" dt="2019-02-20T11:53:40.259" v="5" actId="20577"/>
          <ac:spMkLst>
            <pc:docMk/>
            <pc:sldMk cId="879973991" sldId="363"/>
            <ac:spMk id="3" creationId="{BBD8CFFA-DDC1-4C8D-9631-31968660E95F}"/>
          </ac:spMkLst>
        </pc:spChg>
      </pc:sldChg>
      <pc:sldChg chg="modNotesTx">
        <pc:chgData name="Frederikke Sofie Bech Høyer" userId="242ee977-0f26-4a5c-be07-2271ba5917d1" providerId="ADAL" clId="{3BD1BB72-7E4C-4F35-890C-F5CEDDAE4C8A}" dt="2019-02-20T11:55:31.291" v="19" actId="20577"/>
        <pc:sldMkLst>
          <pc:docMk/>
          <pc:sldMk cId="199383165" sldId="375"/>
        </pc:sldMkLst>
      </pc:sldChg>
      <pc:sldChg chg="modSp modNotesTx">
        <pc:chgData name="Frederikke Sofie Bech Høyer" userId="242ee977-0f26-4a5c-be07-2271ba5917d1" providerId="ADAL" clId="{3BD1BB72-7E4C-4F35-890C-F5CEDDAE4C8A}" dt="2019-02-20T11:55:28.819" v="18" actId="20577"/>
        <pc:sldMkLst>
          <pc:docMk/>
          <pc:sldMk cId="844261528" sldId="390"/>
        </pc:sldMkLst>
        <pc:picChg chg="mod">
          <ac:chgData name="Frederikke Sofie Bech Høyer" userId="242ee977-0f26-4a5c-be07-2271ba5917d1" providerId="ADAL" clId="{3BD1BB72-7E4C-4F35-890C-F5CEDDAE4C8A}" dt="2019-02-20T11:54:06.097" v="9" actId="208"/>
          <ac:picMkLst>
            <pc:docMk/>
            <pc:sldMk cId="844261528" sldId="390"/>
            <ac:picMk id="6" creationId="{BFF8EDBF-409F-4CEF-A666-861C78BB78B1}"/>
          </ac:picMkLst>
        </pc:picChg>
      </pc:sldChg>
      <pc:sldChg chg="modSp modNotesTx">
        <pc:chgData name="Frederikke Sofie Bech Høyer" userId="242ee977-0f26-4a5c-be07-2271ba5917d1" providerId="ADAL" clId="{3BD1BB72-7E4C-4F35-890C-F5CEDDAE4C8A}" dt="2019-02-20T11:54:53.038" v="13" actId="20577"/>
        <pc:sldMkLst>
          <pc:docMk/>
          <pc:sldMk cId="2309032016" sldId="503"/>
        </pc:sldMkLst>
        <pc:spChg chg="mod">
          <ac:chgData name="Frederikke Sofie Bech Høyer" userId="242ee977-0f26-4a5c-be07-2271ba5917d1" providerId="ADAL" clId="{3BD1BB72-7E4C-4F35-890C-F5CEDDAE4C8A}" dt="2019-02-20T11:53:47.971" v="8" actId="20577"/>
          <ac:spMkLst>
            <pc:docMk/>
            <pc:sldMk cId="2309032016" sldId="503"/>
            <ac:spMk id="4" creationId="{78EA5624-8B88-4C35-86BA-08B877FF08E2}"/>
          </ac:spMkLst>
        </pc:spChg>
      </pc:sldChg>
      <pc:sldChg chg="modNotesTx">
        <pc:chgData name="Frederikke Sofie Bech Høyer" userId="242ee977-0f26-4a5c-be07-2271ba5917d1" providerId="ADAL" clId="{3BD1BB72-7E4C-4F35-890C-F5CEDDAE4C8A}" dt="2019-02-20T11:55:20.001" v="16" actId="20577"/>
        <pc:sldMkLst>
          <pc:docMk/>
          <pc:sldMk cId="154380319" sldId="506"/>
        </pc:sldMkLst>
      </pc:sldChg>
      <pc:sldChg chg="modSp">
        <pc:chgData name="Frederikke Sofie Bech Høyer" userId="242ee977-0f26-4a5c-be07-2271ba5917d1" providerId="ADAL" clId="{3BD1BB72-7E4C-4F35-890C-F5CEDDAE4C8A}" dt="2019-02-20T11:53:35.771" v="3" actId="20577"/>
        <pc:sldMkLst>
          <pc:docMk/>
          <pc:sldMk cId="2632214907" sldId="508"/>
        </pc:sldMkLst>
        <pc:spChg chg="mod">
          <ac:chgData name="Frederikke Sofie Bech Høyer" userId="242ee977-0f26-4a5c-be07-2271ba5917d1" providerId="ADAL" clId="{3BD1BB72-7E4C-4F35-890C-F5CEDDAE4C8A}" dt="2019-02-20T11:53:35.771" v="3" actId="20577"/>
          <ac:spMkLst>
            <pc:docMk/>
            <pc:sldMk cId="2632214907" sldId="508"/>
            <ac:spMk id="6" creationId="{BA84575B-748C-47BD-A1AC-05BBB1016340}"/>
          </ac:spMkLst>
        </pc:spChg>
      </pc:sldChg>
      <pc:sldChg chg="modNotesTx">
        <pc:chgData name="Frederikke Sofie Bech Høyer" userId="242ee977-0f26-4a5c-be07-2271ba5917d1" providerId="ADAL" clId="{3BD1BB72-7E4C-4F35-890C-F5CEDDAE4C8A}" dt="2019-02-20T11:55:10.567" v="15" actId="20577"/>
        <pc:sldMkLst>
          <pc:docMk/>
          <pc:sldMk cId="1280264565" sldId="51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590E02-4525-4382-934C-C57FB8BBBDF0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C127EE-0B81-4268-9DCA-DBB0E97B739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081782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la bliver den nye kommunikationsplatform i folkeskoler, SFO’er, fritids- og klubtilbud samt dagtilbud over hele landet, når Aula erstatter </a:t>
            </a:r>
            <a:r>
              <a:rPr lang="da-DK" sz="936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ældreIntra</a:t>
            </a:r>
            <a:r>
              <a:rPr lang="da-DK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og </a:t>
            </a:r>
            <a:r>
              <a:rPr lang="da-DK" sz="936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levIntra</a:t>
            </a:r>
            <a:r>
              <a:rPr lang="da-DK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i august 2019 og </a:t>
            </a:r>
            <a:r>
              <a:rPr lang="da-DK" sz="936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ørneIntra</a:t>
            </a:r>
            <a:r>
              <a:rPr lang="da-DK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 2020. Du vil kunne genkende flere funktioner fra </a:t>
            </a:r>
            <a:r>
              <a:rPr lang="da-DK" sz="936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ældreIntra</a:t>
            </a:r>
            <a:r>
              <a:rPr lang="da-DK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 Aula. </a:t>
            </a:r>
          </a:p>
          <a:p>
            <a:endParaRPr lang="da-DK" sz="936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a-DK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 forældre vil I fx få adgang til kalender, beskeder, nyheder, galleri og kommunikation i grupper i en mere enkel, brugervenlig og sikker løsning. </a:t>
            </a:r>
          </a:p>
          <a:p>
            <a:endParaRPr lang="da-DK" sz="936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a-DK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0" marR="0" lvl="0" indent="0" algn="l" defTabSz="71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000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A0114A-87C3-AE42-9FE6-947C2632DDED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242249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a-DK" dirty="0"/>
              <a:t>Galleri viser mediefiler (foto og video).</a:t>
            </a:r>
          </a:p>
          <a:p>
            <a:pPr marL="0" indent="0">
              <a:buFontTx/>
              <a:buNone/>
            </a:pPr>
            <a:r>
              <a:rPr lang="da-DK" dirty="0"/>
              <a:t>Det er knyttet op på samtykke fra forældre, som også ligger i Aul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A0114A-87C3-AE42-9FE6-947C2632DDED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270581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1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dirty="0"/>
              <a:t>Aula betyder forsamlingssal og udtrykker fællesskab og samling. </a:t>
            </a:r>
          </a:p>
          <a:p>
            <a:pPr marL="0" marR="0" lvl="0" indent="0" algn="l" defTabSz="71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000" dirty="0"/>
          </a:p>
          <a:p>
            <a:pPr marL="0" marR="0" lvl="0" indent="0" algn="l" defTabSz="71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dirty="0"/>
              <a:t>Aula er et fælles rum til kommunikation og samarbejde, som I allerede kender det fra </a:t>
            </a:r>
            <a:r>
              <a:rPr lang="da-DK" sz="1000" dirty="0" err="1"/>
              <a:t>ForældreIntra</a:t>
            </a:r>
            <a:r>
              <a:rPr lang="da-DK" sz="1000" dirty="0"/>
              <a:t>.</a:t>
            </a:r>
          </a:p>
          <a:p>
            <a:pPr marL="0" marR="0" lvl="0" indent="0" algn="l" defTabSz="71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000" dirty="0"/>
          </a:p>
          <a:p>
            <a:pPr marL="0" marR="0" lvl="0" indent="0" algn="l" defTabSz="71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dirty="0"/>
              <a:t>Det bliver en mere enkel og brugervenlig løsning – fordi ambitionen er, at vi skal have alle forældrene på.</a:t>
            </a:r>
          </a:p>
          <a:p>
            <a:pPr marL="0" marR="0" lvl="0" indent="0" algn="l" defTabSz="71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000" dirty="0"/>
          </a:p>
          <a:p>
            <a:pPr marL="0" marR="0" lvl="0" indent="0" algn="l" defTabSz="71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dirty="0"/>
              <a:t>Samtidig bliver det en mere sikker løsning end </a:t>
            </a:r>
            <a:r>
              <a:rPr lang="da-DK" sz="1000" dirty="0" err="1"/>
              <a:t>ForældreIntra</a:t>
            </a:r>
            <a:r>
              <a:rPr lang="da-DK" sz="1000" dirty="0"/>
              <a:t>, som lever op til de nye og større krav til it-sikkerhed end tidligere. </a:t>
            </a:r>
          </a:p>
          <a:p>
            <a:pPr marL="0" marR="0" lvl="0" indent="0" algn="l" defTabSz="71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000" dirty="0"/>
          </a:p>
          <a:p>
            <a:pPr marL="0" marR="0" lvl="0" indent="0" algn="l" defTabSz="71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b="1" dirty="0"/>
              <a:t>Målet med Aula er at styrke samarbejdet</a:t>
            </a:r>
          </a:p>
          <a:p>
            <a:pPr>
              <a:lnSpc>
                <a:spcPct val="120000"/>
              </a:lnSpc>
            </a:pPr>
            <a:r>
              <a:rPr lang="da-DK" sz="1000" dirty="0"/>
              <a:t>Når du som forælder involverer dig aktivt i dit barns skoleliv, har det en afgørende betydning for dit barn.</a:t>
            </a:r>
          </a:p>
          <a:p>
            <a:pPr>
              <a:lnSpc>
                <a:spcPct val="120000"/>
              </a:lnSpc>
            </a:pPr>
            <a:r>
              <a:rPr lang="da-DK" sz="1000" dirty="0"/>
              <a:t>Det smitter det positivt af på dit barns læring, udvikling og trivsel.</a:t>
            </a:r>
          </a:p>
          <a:p>
            <a:pPr>
              <a:lnSpc>
                <a:spcPct val="120000"/>
              </a:lnSpc>
            </a:pPr>
            <a:r>
              <a:rPr lang="da-DK" sz="1000" dirty="0"/>
              <a:t>Derfor skal Aula styrke samarbejdet om børn og unges læring, trivsel og udvikling mellem forældre, medarbejdere, ledere, børn og unge.  </a:t>
            </a:r>
          </a:p>
          <a:p>
            <a:pPr>
              <a:lnSpc>
                <a:spcPct val="120000"/>
              </a:lnSpc>
            </a:pPr>
            <a:endParaRPr lang="da-DK" sz="1000" dirty="0"/>
          </a:p>
          <a:p>
            <a:pPr>
              <a:lnSpc>
                <a:spcPct val="120000"/>
              </a:lnSpc>
            </a:pPr>
            <a:r>
              <a:rPr lang="da-DK" sz="1000" b="1" dirty="0"/>
              <a:t>Aula skaber momentum til at gentænke og styrke kommunikationen med jer forældre</a:t>
            </a:r>
          </a:p>
          <a:p>
            <a:pPr marL="171450" indent="-171450">
              <a:lnSpc>
                <a:spcPct val="120000"/>
              </a:lnSpc>
              <a:buFontTx/>
              <a:buChar char="-"/>
            </a:pPr>
            <a:r>
              <a:rPr lang="da-DK" sz="1000" dirty="0"/>
              <a:t>Så det bl.a. bliver nemmere for jer at finde det, som I har brug for.</a:t>
            </a:r>
          </a:p>
          <a:p>
            <a:pPr marL="171450" indent="-171450">
              <a:lnSpc>
                <a:spcPct val="120000"/>
              </a:lnSpc>
              <a:buFontTx/>
              <a:buChar char="-"/>
            </a:pPr>
            <a:r>
              <a:rPr lang="da-DK" sz="1000" dirty="0"/>
              <a:t>Tænke over om noget af ansvaret skal lægges tilbage til eleven fra et bestemt klassetrin osv. </a:t>
            </a:r>
          </a:p>
          <a:p>
            <a:pPr marL="0" marR="0" lvl="0" indent="0" algn="l" defTabSz="71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000" dirty="0"/>
          </a:p>
          <a:p>
            <a:r>
              <a:rPr lang="da-DK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A0114A-87C3-AE42-9FE6-947C2632DDED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281431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sz="1000" b="1" dirty="0"/>
              <a:t>En nem og brugervenlig løsning</a:t>
            </a:r>
            <a:br>
              <a:rPr lang="da-DK" sz="1000" b="1" dirty="0"/>
            </a:br>
            <a:r>
              <a:rPr lang="da-DK" sz="1000" dirty="0"/>
              <a:t>Aula giver dig et bedre overblik over dit barns skoledag – på mobil, computer og tablet.</a:t>
            </a:r>
            <a:br>
              <a:rPr lang="da-DK" sz="1000" dirty="0"/>
            </a:br>
            <a:endParaRPr lang="da-DK" sz="1000" dirty="0"/>
          </a:p>
          <a:p>
            <a:r>
              <a:rPr lang="da-DK" sz="1000" b="1" dirty="0"/>
              <a:t>Én indgang</a:t>
            </a:r>
            <a:r>
              <a:rPr lang="da-DK" sz="1000" dirty="0"/>
              <a:t> </a:t>
            </a:r>
            <a:r>
              <a:rPr lang="da-DK" sz="1000" b="1" dirty="0"/>
              <a:t>til kommunikation om dit barn </a:t>
            </a:r>
            <a:br>
              <a:rPr lang="da-DK" sz="1000" b="1" dirty="0"/>
            </a:br>
            <a:r>
              <a:rPr lang="da-DK" sz="1000" dirty="0"/>
              <a:t>lige fra vuggestuen til udgangen af folkeskolen.</a:t>
            </a:r>
            <a:br>
              <a:rPr lang="da-DK" sz="1000" dirty="0"/>
            </a:br>
            <a:r>
              <a:rPr lang="da-DK" sz="1000" dirty="0"/>
              <a:t>Du skal altså kun logge ind ét sted, når Aula erstatter </a:t>
            </a:r>
            <a:r>
              <a:rPr lang="da-DK" sz="1000" dirty="0" err="1"/>
              <a:t>ForældreIntra</a:t>
            </a:r>
            <a:r>
              <a:rPr lang="da-DK" sz="1000" dirty="0"/>
              <a:t> i 2019 og </a:t>
            </a:r>
            <a:r>
              <a:rPr lang="da-DK" sz="1000" dirty="0" err="1"/>
              <a:t>BørneIntra</a:t>
            </a:r>
            <a:r>
              <a:rPr lang="da-DK" sz="1000" dirty="0"/>
              <a:t> i 2020. </a:t>
            </a:r>
            <a:br>
              <a:rPr lang="da-DK" sz="1000" dirty="0"/>
            </a:br>
            <a:r>
              <a:rPr lang="da-DK" sz="1000" dirty="0"/>
              <a:t>Fritids- og ungdomstilbud får også adgang til Aula, så alt bliver samlet i Aula.</a:t>
            </a:r>
          </a:p>
          <a:p>
            <a:r>
              <a:rPr lang="da-DK" sz="1000" dirty="0"/>
              <a:t>Du får adgang med dit UNI-Login, som du også bruger i dag til </a:t>
            </a:r>
            <a:r>
              <a:rPr lang="da-DK" sz="1000" dirty="0" err="1"/>
              <a:t>ForældreIntra</a:t>
            </a:r>
            <a:r>
              <a:rPr lang="da-DK" sz="1000" dirty="0"/>
              <a:t>.</a:t>
            </a:r>
          </a:p>
          <a:p>
            <a:endParaRPr lang="da-DK" sz="1000" dirty="0"/>
          </a:p>
          <a:p>
            <a:r>
              <a:rPr lang="da-DK" sz="1000" b="1" dirty="0"/>
              <a:t>Aula beskytter dit barns data</a:t>
            </a:r>
            <a:br>
              <a:rPr lang="da-DK" sz="1000" dirty="0"/>
            </a:br>
            <a:r>
              <a:rPr lang="da-DK" sz="1000" dirty="0"/>
              <a:t>Et ekstra lag af sikkerhed beskytter informationerne om dit barn godt og korrekt efter gældende lovgivning. </a:t>
            </a:r>
          </a:p>
          <a:p>
            <a:r>
              <a:rPr lang="da-DK" sz="1000" dirty="0"/>
              <a:t>Det betyder, at du skal logge ind med NemID, når kommunikationen om dit barn indeholder følsomme eller fortrolige oplysninger. </a:t>
            </a:r>
            <a:br>
              <a:rPr lang="da-DK" sz="1000" dirty="0"/>
            </a:br>
            <a:r>
              <a:rPr lang="da-DK" sz="1000" dirty="0"/>
              <a:t>Fx kan en besked markeres som fortrolig – og så skal du altså logge ind med to-faktorer: </a:t>
            </a:r>
          </a:p>
          <a:p>
            <a:pPr marL="685800" lvl="1" indent="-228600">
              <a:buAutoNum type="arabicParenR"/>
            </a:pPr>
            <a:r>
              <a:rPr lang="da-DK" sz="1000" dirty="0"/>
              <a:t>Dit UNI-Login (som du skal bruge, når du logger på Aula)</a:t>
            </a:r>
          </a:p>
          <a:p>
            <a:pPr marL="685800" lvl="1" indent="-228600">
              <a:buAutoNum type="arabicParenR"/>
            </a:pPr>
            <a:r>
              <a:rPr lang="da-DK" sz="1000" dirty="0"/>
              <a:t>Dit NemID</a:t>
            </a:r>
          </a:p>
          <a:p>
            <a:pPr marL="0" indent="0">
              <a:buNone/>
            </a:pPr>
            <a:endParaRPr lang="da-DK" sz="1000" dirty="0"/>
          </a:p>
          <a:p>
            <a:pPr marL="0" indent="0">
              <a:buNone/>
            </a:pPr>
            <a:r>
              <a:rPr lang="da-DK" sz="1000" dirty="0"/>
              <a:t>Det meste af kommunikationen mellem skolen og hjemmet indeholder ikke fortrolige og følsomme oplysninger, så det meste af indholdet vil kunne tilgås med UNI-Login, som du kender det fra SkoleIntra i dag. </a:t>
            </a:r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A0114A-87C3-AE42-9FE6-947C2632DDED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5280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Video fra KOMBIT – kort om Aula (varighed 1:30 min).</a:t>
            </a:r>
          </a:p>
          <a:p>
            <a:endParaRPr lang="da-DK" dirty="0"/>
          </a:p>
          <a:p>
            <a:r>
              <a:rPr lang="da-DK" dirty="0"/>
              <a:t>Indlejring fungerer ikke, så I er nødt til at klikke på linket og vise den i en browser.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A0114A-87C3-AE42-9FE6-947C2632DDED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00718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Vi skal alle rydde op, inden Aula erstatter </a:t>
            </a:r>
            <a:r>
              <a:rPr lang="da-DK" dirty="0" err="1"/>
              <a:t>ForældreIntra</a:t>
            </a:r>
            <a:r>
              <a:rPr lang="da-DK" dirty="0"/>
              <a:t> og </a:t>
            </a:r>
            <a:r>
              <a:rPr lang="da-DK" dirty="0" err="1"/>
              <a:t>ElevIntra</a:t>
            </a:r>
            <a:r>
              <a:rPr lang="da-DK" dirty="0"/>
              <a:t>.</a:t>
            </a:r>
          </a:p>
          <a:p>
            <a:endParaRPr lang="da-DK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dirty="0"/>
              <a:t>Det er vigtigt, at du søger for at gemme alt det, du gerne vil have adgang til senere, sådan at du ikke mister adgang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dirty="0"/>
              <a:t>Den største del af oprydningen står skolen for. Noget skal slettes, noget skal gemmes andre steder og noget bliver flyttet automatisk til Aul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dirty="0"/>
              <a:t>Så alt, hvad der er lovpligtigt at gemme, vil skolen efterfølgende have adgang til efterfølgende. </a:t>
            </a:r>
          </a:p>
          <a:p>
            <a:endParaRPr lang="da-DK" dirty="0"/>
          </a:p>
          <a:p>
            <a:r>
              <a:rPr lang="da-DK" dirty="0"/>
              <a:t>Tag det roligt – der kommer hjælp til opgaven inden august.</a:t>
            </a:r>
          </a:p>
          <a:p>
            <a:endParaRPr lang="da-DK" dirty="0"/>
          </a:p>
          <a:p>
            <a:r>
              <a:rPr lang="da-DK" dirty="0"/>
              <a:t> </a:t>
            </a:r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A0114A-87C3-AE42-9FE6-947C2632DDED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734003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Eksempler på, hvordan Aula kommer til at se ud – med forbehold for, at der kan ske mindre ændringer.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A0114A-87C3-AE42-9FE6-947C2632DDED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977462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a-DK" dirty="0"/>
              <a:t>Overblik viser dig opslag fra alle de grupper, som du er medlem af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A0114A-87C3-AE42-9FE6-947C2632DDED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96606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Kalenderen vil fungere som en samlet indgang til skema og begivenheder som fx sommerfest, ferier, fødselsdage og møder. Kalenderen samler dermed en række forskellige informationer i et overblik.</a:t>
            </a:r>
          </a:p>
          <a:p>
            <a:r>
              <a:rPr lang="da-DK" dirty="0"/>
              <a:t>Det bliver muligt at se skema og begivenheder for flere børn samtidig – eller filtrere på børnene øverst i højre hjørne. 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A0114A-87C3-AE42-9FE6-947C2632DDED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66780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Beskeder ligger i en beskedtråd – som du kan ‘</a:t>
            </a:r>
            <a:r>
              <a:rPr lang="da-DK" dirty="0" err="1"/>
              <a:t>mute</a:t>
            </a:r>
            <a:r>
              <a:rPr lang="da-DK" dirty="0"/>
              <a:t>’ eller forlade, hvis du ikke ønsker at deltage i samtalen.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A0114A-87C3-AE42-9FE6-947C2632DDED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02085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41AE07-D29D-4758-9FF3-B903B0A57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C109E850-F939-4976-927E-C7D30C1F8D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649EC8B-EF3F-468D-AC77-ADFC8EE68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476FF-CBCD-420D-AABF-03ACDDD1383F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ED98CB2-228C-407A-BDA2-47336FA91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5673D7A-7FB2-4D77-9959-735F88AFB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52198A-CAFD-4C88-A16F-6477CF20BD3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839794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956214-3A35-42FC-91EB-B44D21F82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AF33D01C-0353-475F-A07D-0A8E5BDFEA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B6006F0-F22B-43AB-9025-9B3C816AF3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476FF-CBCD-420D-AABF-03ACDDD1383F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25044CA-FA97-4B4D-BECA-97BBC601F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6A03466-F042-4830-A742-988E2B2CE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52198A-CAFD-4C88-A16F-6477CF20BD3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837017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AF8EF1C8-D52A-45EA-97DA-11982A90476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9A8E82B5-04B8-41CF-8F6E-2F4764FB31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F3306A9-EBAF-4E56-83B8-1B059D952A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476FF-CBCD-420D-AABF-03ACDDD1383F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786875C-8B25-405E-A71A-5FD5BA953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A10AE5B-560F-4841-A7E8-1CF83B808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52198A-CAFD-4C88-A16F-6477CF20BD3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643203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10515600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10515316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C9EE5561-02F8-9440-93F9-F10EBBB4FA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9465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>
            <a:extLst>
              <a:ext uri="{FF2B5EF4-FFF2-40B4-BE49-F238E27FC236}">
                <a16:creationId xmlns:a16="http://schemas.microsoft.com/office/drawing/2014/main" id="{274D0406-323E-0D43-8C60-996658180A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164" t="-16854" r="4256" b="77660"/>
          <a:stretch/>
        </p:blipFill>
        <p:spPr>
          <a:xfrm>
            <a:off x="4047067" y="3605350"/>
            <a:ext cx="8144933" cy="3252650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1994536"/>
            <a:ext cx="8984585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7714E126-39B4-E64E-A629-2D16884766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9318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7B025B07-46B0-4D1D-B6E2-2CA9A8EA6A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03955" y="0"/>
            <a:ext cx="5087112" cy="685800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F100CF3A-B05F-4011-8BCF-8BB74C9BCA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812" r="31420" b="11550"/>
          <a:stretch/>
        </p:blipFill>
        <p:spPr>
          <a:xfrm>
            <a:off x="4391422" y="2"/>
            <a:ext cx="8144933" cy="6857999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6650972" cy="725028"/>
          </a:xfrm>
        </p:spPr>
        <p:txBody>
          <a:bodyPr/>
          <a:lstStyle/>
          <a:p>
            <a:r>
              <a:rPr lang="da-DK" dirty="0"/>
              <a:t>Overskrift skal stå her</a:t>
            </a: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rgbClr val="2091A2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7" y="1994536"/>
            <a:ext cx="6650688" cy="3480436"/>
          </a:xfrm>
        </p:spPr>
        <p:txBody>
          <a:bodyPr/>
          <a:lstStyle/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4E16806-1228-0F4E-9251-C8D319F017A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4904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el og indhold">
    <p:bg>
      <p:bgPr>
        <a:solidFill>
          <a:srgbClr val="007A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lede 11">
            <a:extLst>
              <a:ext uri="{FF2B5EF4-FFF2-40B4-BE49-F238E27FC236}">
                <a16:creationId xmlns:a16="http://schemas.microsoft.com/office/drawing/2014/main" id="{E95201FA-75DE-2C4A-A557-5E1EDD1DE0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6539" b="60967"/>
          <a:stretch/>
        </p:blipFill>
        <p:spPr>
          <a:xfrm>
            <a:off x="5836801" y="3818881"/>
            <a:ext cx="6355200" cy="3039120"/>
          </a:xfrm>
          <a:prstGeom prst="rect">
            <a:avLst/>
          </a:prstGeom>
        </p:spPr>
      </p:pic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D21B5BC7-2603-3B4E-93E8-779AA598B1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983" y="1224916"/>
            <a:ext cx="8984868" cy="725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al stå h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392430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5512BAC3-ECC3-8D4D-BB98-A376A5D93C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266" y="2013844"/>
            <a:ext cx="8984585" cy="3480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a-DK" dirty="0"/>
              <a:t>Indhold og punktopstilling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78C3B46C-0A76-664F-B358-7A897B0F05D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8138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6428078"/>
            <a:ext cx="3897085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C9EE5561-02F8-9440-93F9-F10EBBB4FA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983" y="6237715"/>
            <a:ext cx="832679" cy="30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6122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og indhold">
    <p:bg>
      <p:bgPr>
        <a:solidFill>
          <a:srgbClr val="337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2FB1501-613B-8B44-B489-9768C9E4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32660" y="7211850"/>
            <a:ext cx="389708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059A32A2-47D7-1C4D-848A-E69E9E87A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7088" b="61228"/>
          <a:stretch/>
        </p:blipFill>
        <p:spPr>
          <a:xfrm>
            <a:off x="5839037" y="3817538"/>
            <a:ext cx="6352963" cy="3040462"/>
          </a:xfrm>
          <a:prstGeom prst="rect">
            <a:avLst/>
          </a:prstGeom>
        </p:spPr>
      </p:pic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DB027E1D-551F-614A-B54D-3207D16815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267" y="-610798"/>
            <a:ext cx="7137400" cy="312965"/>
          </a:xfrm>
        </p:spPr>
        <p:txBody>
          <a:bodyPr>
            <a:normAutofit/>
          </a:bodyPr>
          <a:lstStyle>
            <a:lvl1pPr>
              <a:defRPr sz="1440" b="1" spc="36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TEMAOVERSKRIFT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97A7741-8029-B34C-BB59-C4D5D4B296F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11825" y="2529895"/>
            <a:ext cx="3559755" cy="1287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9309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95BC60-9BE5-48CF-8FE3-3999CE0CE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D40CA59-5396-4BC2-A7ED-2E7E556936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4E2A528-EA5D-47BD-AF4C-7778864E0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476FF-CBCD-420D-AABF-03ACDDD1383F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38801E-D585-476C-AE58-BD65B67452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2B9AC1D-C402-47F5-A911-4DD6CCA99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52198A-CAFD-4C88-A16F-6477CF20BD3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767654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FECDCC-D76D-450C-B8B2-475BC86FA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AFEA2E4-59CD-49EF-B72B-B9E6A8C4E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BFFFA80-542D-47E4-948F-08394ED67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476FF-CBCD-420D-AABF-03ACDDD1383F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EF9168E-95E8-4CDD-8906-7B2AAC2079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591F892-7133-45BD-BC18-E8F20DCCC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52198A-CAFD-4C88-A16F-6477CF20BD3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23903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183339-9416-4F80-806A-3F5D1272A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655DD49-F04C-4469-8DB0-A2237F978EA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01FC039A-6798-4910-A2AB-68FBCE4523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0E3A821D-C06F-4524-BAE3-D1462624F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476FF-CBCD-420D-AABF-03ACDDD1383F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8E3F36F-9B9C-4468-AD65-5304F06A92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D5AB9D2-3123-4696-B610-8EC8110570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52198A-CAFD-4C88-A16F-6477CF20BD3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491291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063777-2550-44DD-A9A0-A7196184EF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8118AA9-FB18-42AC-908D-9128FE4A06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8878F80-4908-4530-8A4E-1A1BCF3C55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C4C94A18-E224-4B0F-A545-A5253876A5A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C25A9936-6706-4BFB-B897-6C3C5E5934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60214A7-AD11-4821-81A5-F8647A40A1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476FF-CBCD-420D-AABF-03ACDDD1383F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524B257A-64BA-4477-9E3B-DC1E8A3250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508F6D7C-2666-4006-8E46-21989F733E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52198A-CAFD-4C88-A16F-6477CF20BD3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908821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26D591-0AD9-4E7B-892B-D63426417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A1B271B4-0042-4C02-A3D4-061A59072F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476FF-CBCD-420D-AABF-03ACDDD1383F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CFF179E2-8EEA-4667-BC91-D380D36DBD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CBA6223-5928-48DA-8700-0239153F7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52198A-CAFD-4C88-A16F-6477CF20BD3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695765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94365B35-D9FB-4A5F-9D4A-FBC30B936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476FF-CBCD-420D-AABF-03ACDDD1383F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97E9C53-29F4-4609-AF50-598F39D5F8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9FFD3DD-A498-4ABE-B36A-6E677A7BF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52198A-CAFD-4C88-A16F-6477CF20BD3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939533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AF12A0-C9FB-4E11-96CF-15639A340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3B46FA67-72C4-4086-BC10-051E7D3F19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5BEC9DE-A61D-4780-AD3C-67D1F3DA88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51C48144-8E4B-46A1-B86C-EAD84A920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476FF-CBCD-420D-AABF-03ACDDD1383F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7444D32-F141-4A7A-8ADF-BA2A9367A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D4221C3D-522D-4696-BF7F-8CBFEDE2B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52198A-CAFD-4C88-A16F-6477CF20BD3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4702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2F2E1-D190-4703-930A-BD3FB2452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4475C79F-EC49-4CB1-95A5-9CE6DD8455C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7F3508A-753A-43D8-B34A-66150B8AFB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32F9CB4-0C57-4B38-8CFC-85C6A793A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476FF-CBCD-420D-AABF-03ACDDD1383F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53EAB54E-3519-4733-9D30-03065B25D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CC214F9-47DA-4CBE-9753-399574D34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52198A-CAFD-4C88-A16F-6477CF20BD3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55821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590F4FC7-A487-4E80-99BE-74118FCF2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BBCC468-D1E9-406D-9941-56D4837BD7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703AA50-D94C-4DB3-821F-6ADC60DF08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E476FF-CBCD-420D-AABF-03ACDDD1383F}" type="datetimeFigureOut">
              <a:rPr lang="da-DK" smtClean="0"/>
              <a:t>20-02-2019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0248A89-F82D-4397-8C4E-B6A0FC7A7C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33A484E-572C-44E9-96E0-20BDF88F48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52198A-CAFD-4C88-A16F-6477CF20BD3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84892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.xml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sv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6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3" Type="http://schemas.openxmlformats.org/officeDocument/2006/relationships/tags" Target="../tags/tag8.xml"/><Relationship Id="rId7" Type="http://schemas.openxmlformats.org/officeDocument/2006/relationships/image" Target="../media/image6.emf"/><Relationship Id="rId12" Type="http://schemas.openxmlformats.org/officeDocument/2006/relationships/image" Target="../media/image17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6.sv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4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video" Target="https://www.youtube.com/embed/WYqmrvTUpA0" TargetMode="External"/><Relationship Id="rId7" Type="http://schemas.openxmlformats.org/officeDocument/2006/relationships/image" Target="../media/image1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10" Type="http://schemas.openxmlformats.org/officeDocument/2006/relationships/hyperlink" Target="http://www.aulainfo.dk/" TargetMode="External"/><Relationship Id="rId4" Type="http://schemas.openxmlformats.org/officeDocument/2006/relationships/slideLayout" Target="../slideLayouts/slideLayout12.xml"/><Relationship Id="rId9" Type="http://schemas.openxmlformats.org/officeDocument/2006/relationships/hyperlink" Target="https://www.youtube.com/watch?time_continue=9&amp;v=WYqmrvTUpA0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3" Type="http://schemas.openxmlformats.org/officeDocument/2006/relationships/tags" Target="../tags/tag11.xml"/><Relationship Id="rId7" Type="http://schemas.openxmlformats.org/officeDocument/2006/relationships/image" Target="../media/image6.emf"/><Relationship Id="rId12" Type="http://schemas.openxmlformats.org/officeDocument/2006/relationships/image" Target="../media/image2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24.sv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2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C6E157-A68D-4A18-9E50-784710D4FC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C6E157-A68D-4A18-9E50-784710D4FC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FC6E5900-F3B5-4E05-BE5B-2F07EEFA25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960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88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D354FD9-5DC3-41B7-BE77-82073FEE5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ære skole – Læs og fjern inden brug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A84575B-748C-47BD-A1AC-05BBB10163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/>
            <a:r>
              <a:rPr lang="da-DK" dirty="0"/>
              <a:t>Målgruppen for præsentationen: Forældre.</a:t>
            </a:r>
          </a:p>
          <a:p>
            <a:pPr marL="342900" indent="-342900"/>
            <a:r>
              <a:rPr lang="da-DK" dirty="0"/>
              <a:t>I kan bruge de slides, som I ønsker, afhængigt af den sammenhæng som I skal bruge præsentationen i – Resten fjerner I bare eller skjuler. </a:t>
            </a:r>
          </a:p>
          <a:p>
            <a:pPr marL="342900" indent="-342900"/>
            <a:r>
              <a:rPr lang="da-DK" dirty="0"/>
              <a:t>Bemærk, at der er noter til hvert enkelt slide, som uddyber slidens indhold.</a:t>
            </a:r>
          </a:p>
          <a:p>
            <a:pPr marL="342900" indent="-342900"/>
            <a:r>
              <a:rPr lang="da-DK" dirty="0"/>
              <a:t>”Aula – sådan kommer det til at se ud” (fra slide 9) hvis I ønsker at vise eksempler på, hvordan Aula kommer til at se ud – med det in mente at der kan forekomme mindre ændringer.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32214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E9D148F-BA83-42DE-8F19-424D84CE2F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E9D148F-BA83-42DE-8F19-424D84CE2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A03901A-4AE5-4882-9FC2-9B50A7C61C5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4981"/>
          <a:stretch/>
        </p:blipFill>
        <p:spPr>
          <a:xfrm>
            <a:off x="3386291" y="862151"/>
            <a:ext cx="5768596" cy="526249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6A1B617A-D837-48A4-9221-BA948C1CFC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m Aula - Overblik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B24F46A9-9A7F-42EE-99B5-68DC8D7EE6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37566" y="862151"/>
            <a:ext cx="1417320" cy="683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4440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3F3B377-69FA-40C3-85EB-4702A1475C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3F3B377-69FA-40C3-85EB-4702A1475C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070EB8D-38D1-4C16-816D-68A82AB6F8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m Aula - Kalender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BFF8EDBF-409F-4CEF-A666-861C78BB78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06385" y="922548"/>
            <a:ext cx="8397808" cy="52219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95C270E3-542E-443F-8010-2831D03EEA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57063" y="896422"/>
            <a:ext cx="1417320" cy="683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2615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010D12E-7432-47CA-98A3-87E638DAB8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010D12E-7432-47CA-98A3-87E638DAB8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070EB8D-38D1-4C16-816D-68A82AB6F8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m Aula - Beskeder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723568FB-9106-4D24-A4A9-898B88722E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37016" y="807111"/>
            <a:ext cx="7811990" cy="5400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831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0584BA6-D40A-431F-80B8-1602B4FA88B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2815"/>
          <a:stretch/>
        </p:blipFill>
        <p:spPr>
          <a:xfrm>
            <a:off x="609600" y="0"/>
            <a:ext cx="109728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62A7BD5-EDBA-416C-8B35-3CAEAEDF599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5720"/>
          <a:stretch/>
        </p:blipFill>
        <p:spPr>
          <a:xfrm>
            <a:off x="609601" y="111034"/>
            <a:ext cx="10972799" cy="663593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30620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85587C54-58A3-8741-8AA6-8069DC8D4F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795333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DF8A7E-EF31-4902-9273-164DEA3B9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640072"/>
            <a:ext cx="12191999" cy="725028"/>
          </a:xfrm>
        </p:spPr>
        <p:txBody>
          <a:bodyPr>
            <a:noAutofit/>
          </a:bodyPr>
          <a:lstStyle/>
          <a:p>
            <a:pPr algn="ctr"/>
            <a:r>
              <a:rPr lang="da-DK" sz="4800" dirty="0"/>
              <a:t>Aula erstatter </a:t>
            </a:r>
            <a:r>
              <a:rPr lang="da-DK" sz="4800" dirty="0" err="1"/>
              <a:t>ForældreIntra</a:t>
            </a:r>
            <a:endParaRPr lang="da-DK" sz="4800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63FD5461-9246-4D45-B262-92EB5DF986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3429000"/>
            <a:ext cx="12192000" cy="1156739"/>
          </a:xfrm>
        </p:spPr>
        <p:txBody>
          <a:bodyPr/>
          <a:lstStyle/>
          <a:p>
            <a:pPr marL="0" indent="0" algn="ctr">
              <a:buNone/>
            </a:pPr>
            <a:r>
              <a:rPr lang="da-DK" dirty="0">
                <a:solidFill>
                  <a:srgbClr val="FF0000"/>
                </a:solidFill>
              </a:rPr>
              <a:t>INDSÆT SKOLENS NAVN</a:t>
            </a:r>
          </a:p>
          <a:p>
            <a:pPr marL="0" indent="0" algn="ctr">
              <a:buNone/>
            </a:pPr>
            <a:r>
              <a:rPr lang="da-DK" dirty="0">
                <a:solidFill>
                  <a:srgbClr val="FF0000"/>
                </a:solidFill>
              </a:rPr>
              <a:t>INDSÆT DATO</a:t>
            </a:r>
          </a:p>
          <a:p>
            <a:pPr marL="0" indent="0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064526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C78EF10-C5D8-4F2A-8BD9-BB47E4D89D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C78EF10-C5D8-4F2A-8BD9-BB47E4D89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7352DE6C-BF7C-4110-AF88-3EBE72C043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960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88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F88A2E8-DA91-4473-AEB7-F267BC79F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ad er Aula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B67D5F2-71A6-4504-9986-84A3F9B633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m Aula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03C50145-5616-40C3-A076-A66C2CE23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0984" y="1994536"/>
            <a:ext cx="7949638" cy="3480436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da-DK" sz="3200" dirty="0"/>
              <a:t>Aula bliver den nye kommunikationsplatform i folkeskoler, SFO’er, fritids- og klubtilbud samt dagtilbud, når Aula erstatter </a:t>
            </a:r>
            <a:r>
              <a:rPr lang="da-DK" sz="3200" dirty="0" err="1"/>
              <a:t>ForældreIntra</a:t>
            </a:r>
            <a:r>
              <a:rPr lang="da-DK" sz="3200" dirty="0"/>
              <a:t> i 2019 og </a:t>
            </a:r>
            <a:r>
              <a:rPr lang="da-DK" sz="3200" dirty="0" err="1"/>
              <a:t>BørneIntra</a:t>
            </a:r>
            <a:r>
              <a:rPr lang="da-DK" sz="3200" dirty="0"/>
              <a:t> i 2020. </a:t>
            </a:r>
          </a:p>
          <a:p>
            <a:endParaRPr lang="da-DK" sz="2400" dirty="0"/>
          </a:p>
          <a:p>
            <a:endParaRPr lang="da-DK" sz="2400" dirty="0"/>
          </a:p>
          <a:p>
            <a:endParaRPr lang="da-DK" sz="2400" dirty="0"/>
          </a:p>
          <a:p>
            <a:endParaRPr lang="da-DK" sz="2400" dirty="0"/>
          </a:p>
          <a:p>
            <a:endParaRPr lang="da-DK" sz="2400" dirty="0"/>
          </a:p>
          <a:p>
            <a:endParaRPr lang="da-DK" sz="2400" dirty="0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D762BA87-2F5B-409C-B629-14142EA6E7C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6459" y="4616560"/>
            <a:ext cx="2338602" cy="946070"/>
          </a:xfrm>
          <a:prstGeom prst="rect">
            <a:avLst/>
          </a:prstGeom>
        </p:spPr>
      </p:pic>
      <p:pic>
        <p:nvPicPr>
          <p:cNvPr id="10" name="Picture 4" descr="Billedresultat for skoleintra">
            <a:extLst>
              <a:ext uri="{FF2B5EF4-FFF2-40B4-BE49-F238E27FC236}">
                <a16:creationId xmlns:a16="http://schemas.microsoft.com/office/drawing/2014/main" id="{2EDD9CE4-6A03-4D38-A5A8-A7703F7255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0252" y="4207474"/>
            <a:ext cx="941712" cy="941712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 descr="Pil: Let kurve">
            <a:extLst>
              <a:ext uri="{FF2B5EF4-FFF2-40B4-BE49-F238E27FC236}">
                <a16:creationId xmlns:a16="http://schemas.microsoft.com/office/drawing/2014/main" id="{427C7CC4-AD08-4071-832B-CE76A981C17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93605" flipV="1">
            <a:off x="4593876" y="4441460"/>
            <a:ext cx="1270670" cy="1296270"/>
          </a:xfrm>
          <a:prstGeom prst="rect">
            <a:avLst/>
          </a:prstGeom>
        </p:spPr>
      </p:pic>
      <p:pic>
        <p:nvPicPr>
          <p:cNvPr id="4098" name="Picture 2" descr="Billedresultat for bÃ¸rneintra logo">
            <a:extLst>
              <a:ext uri="{FF2B5EF4-FFF2-40B4-BE49-F238E27FC236}">
                <a16:creationId xmlns:a16="http://schemas.microsoft.com/office/drawing/2014/main" id="{77BD8B40-0A51-4FFB-9BE8-61C0BAEA6A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99" t="14321" r="31970" b="14162"/>
          <a:stretch/>
        </p:blipFill>
        <p:spPr bwMode="auto">
          <a:xfrm>
            <a:off x="3609574" y="5217520"/>
            <a:ext cx="941712" cy="970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45105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510AB97-A1C4-451B-9250-B0DB6951F5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510AB97-A1C4-451B-9250-B0DB6951F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ktangel 20" hidden="1">
            <a:extLst>
              <a:ext uri="{FF2B5EF4-FFF2-40B4-BE49-F238E27FC236}">
                <a16:creationId xmlns:a16="http://schemas.microsoft.com/office/drawing/2014/main" id="{0F836571-ECC7-4DF7-8105-E131C28542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960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88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96FF56BD-22A7-4D15-80BD-99F0EC6E1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ula udtrykker fællesskab og samling</a:t>
            </a:r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CDA6717A-8360-4C4B-BB6C-208FB0B2C7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m Aula</a:t>
            </a: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31FCF855-84C7-43D5-AAAD-3BF3320FEC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81932" y="4158018"/>
            <a:ext cx="5226098" cy="2950133"/>
          </a:xfrm>
          <a:prstGeom prst="rect">
            <a:avLst/>
          </a:prstGeom>
        </p:spPr>
      </p:pic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BD8CFFA-DDC1-4C8D-9631-31968660E9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48740" y="1994536"/>
            <a:ext cx="5885947" cy="4030153"/>
          </a:xfrm>
        </p:spPr>
        <p:txBody>
          <a:bodyPr>
            <a:normAutofit/>
          </a:bodyPr>
          <a:lstStyle/>
          <a:p>
            <a:pPr>
              <a:lnSpc>
                <a:spcPts val="3312"/>
              </a:lnSpc>
            </a:pPr>
            <a:r>
              <a:rPr lang="da-DK" sz="2400" dirty="0"/>
              <a:t>Et fælles rum til kommunikation og samarbejde i en mere enkel, brugervenlig og sikker løsning, som følger barnet lige fra vuggestuen til udgangen af folkeskolen.</a:t>
            </a:r>
            <a:br>
              <a:rPr lang="da-DK" sz="2400" dirty="0"/>
            </a:br>
            <a:endParaRPr lang="da-DK" sz="2400" dirty="0"/>
          </a:p>
          <a:p>
            <a:pPr>
              <a:lnSpc>
                <a:spcPts val="3312"/>
              </a:lnSpc>
            </a:pPr>
            <a:r>
              <a:rPr lang="da-DK" sz="2400" dirty="0"/>
              <a:t>Målet med Aula er at styrke samarbejdet om børn og unges læring, trivsel og udvikling.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79973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24B4CD9-81F1-4596-AD36-588B70891F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24B4CD9-81F1-4596-AD36-588B70891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 hidden="1">
            <a:extLst>
              <a:ext uri="{FF2B5EF4-FFF2-40B4-BE49-F238E27FC236}">
                <a16:creationId xmlns:a16="http://schemas.microsoft.com/office/drawing/2014/main" id="{3D004136-9BB6-4F09-9634-24154951C4B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960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88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AB2EF0-ACDB-487D-8954-5D0451FE5A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ad får vi med Aula?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4F25E01-3734-4C12-AA78-8BF52BF1D6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m Aula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78EA5624-8B88-4C35-86BA-08B877FF08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57399" y="1994536"/>
            <a:ext cx="8678188" cy="3480436"/>
          </a:xfrm>
        </p:spPr>
        <p:txBody>
          <a:bodyPr/>
          <a:lstStyle/>
          <a:p>
            <a:r>
              <a:rPr lang="da-DK" sz="2400" b="1" dirty="0"/>
              <a:t>En nem og brugervenlig løsning</a:t>
            </a:r>
            <a:br>
              <a:rPr lang="da-DK" b="1" dirty="0"/>
            </a:br>
            <a:r>
              <a:rPr lang="da-DK" sz="1920" dirty="0"/>
              <a:t>Aula giver dig et bedre overblik over dit barns skoledag – på mobil, computer og tablet.</a:t>
            </a:r>
            <a:br>
              <a:rPr lang="da-DK" dirty="0"/>
            </a:br>
            <a:endParaRPr lang="da-DK" dirty="0"/>
          </a:p>
          <a:p>
            <a:r>
              <a:rPr lang="da-DK" sz="2400" b="1" dirty="0"/>
              <a:t>Én indgang</a:t>
            </a:r>
            <a:r>
              <a:rPr lang="da-DK" sz="2400" dirty="0"/>
              <a:t> </a:t>
            </a:r>
            <a:r>
              <a:rPr lang="da-DK" sz="2400" b="1" dirty="0"/>
              <a:t>til kommunikation om dit barn </a:t>
            </a:r>
            <a:br>
              <a:rPr lang="da-DK" b="1" dirty="0"/>
            </a:br>
            <a:r>
              <a:rPr lang="da-DK" sz="1920" dirty="0"/>
              <a:t>lige fra vuggestuen til udgangen af folkeskolen.</a:t>
            </a:r>
          </a:p>
          <a:p>
            <a:endParaRPr lang="da-DK" sz="1920" dirty="0"/>
          </a:p>
          <a:p>
            <a:r>
              <a:rPr lang="da-DK" sz="2400" b="1" dirty="0"/>
              <a:t>Aula beskytter dit barns data</a:t>
            </a:r>
            <a:br>
              <a:rPr lang="da-DK" sz="1920" dirty="0"/>
            </a:br>
            <a:r>
              <a:rPr lang="da-DK" sz="1920" dirty="0"/>
              <a:t>Et ekstra lag af sikkerhed beskytter informationerne om dit barn godt og korrekt.</a:t>
            </a:r>
            <a:endParaRPr lang="da-DK" dirty="0"/>
          </a:p>
        </p:txBody>
      </p:sp>
      <p:pic>
        <p:nvPicPr>
          <p:cNvPr id="6" name="Grafik 5" descr="Elpære">
            <a:extLst>
              <a:ext uri="{FF2B5EF4-FFF2-40B4-BE49-F238E27FC236}">
                <a16:creationId xmlns:a16="http://schemas.microsoft.com/office/drawing/2014/main" id="{1A97B7BC-FA45-4C66-BB33-7132F57BEF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34440" y="1964479"/>
            <a:ext cx="594360" cy="594360"/>
          </a:xfrm>
          <a:prstGeom prst="rect">
            <a:avLst/>
          </a:prstGeom>
        </p:spPr>
      </p:pic>
      <p:pic>
        <p:nvPicPr>
          <p:cNvPr id="8" name="Grafik 7" descr="Netværk">
            <a:extLst>
              <a:ext uri="{FF2B5EF4-FFF2-40B4-BE49-F238E27FC236}">
                <a16:creationId xmlns:a16="http://schemas.microsoft.com/office/drawing/2014/main" id="{5D1FA5D7-E850-4629-8493-8D1718E6DA2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33372" y="3055388"/>
            <a:ext cx="548640" cy="548640"/>
          </a:xfrm>
          <a:prstGeom prst="rect">
            <a:avLst/>
          </a:prstGeom>
        </p:spPr>
      </p:pic>
      <p:pic>
        <p:nvPicPr>
          <p:cNvPr id="9" name="Grafik 8" descr="Lås">
            <a:extLst>
              <a:ext uri="{FF2B5EF4-FFF2-40B4-BE49-F238E27FC236}">
                <a16:creationId xmlns:a16="http://schemas.microsoft.com/office/drawing/2014/main" id="{069366FC-A732-4453-AC8A-28B3D7B61297}"/>
              </a:ext>
            </a:extLst>
          </p:cNvPr>
          <p:cNvPicPr/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10512" y="4100578"/>
            <a:ext cx="594360" cy="594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0320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09A7C4E-A451-4BE9-8344-465C19F24C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09A7C4E-A451-4BE9-8344-465C19F24C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DB9B4585-5249-4A21-A837-F123BD4DDE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Kort video om Aula [1:30]</a:t>
            </a:r>
          </a:p>
        </p:txBody>
      </p:sp>
      <p:pic>
        <p:nvPicPr>
          <p:cNvPr id="9" name="Onlinemedier 8" title="AULA - den nye kommunikationskanal i folkeskoler og dagtilbud">
            <a:hlinkClick r:id="" action="ppaction://media"/>
            <a:extLst>
              <a:ext uri="{FF2B5EF4-FFF2-40B4-BE49-F238E27FC236}">
                <a16:creationId xmlns:a16="http://schemas.microsoft.com/office/drawing/2014/main" id="{E6EE5656-7247-418A-976F-A3E3D6E166BC}"/>
              </a:ext>
            </a:extLst>
          </p:cNvPr>
          <p:cNvPicPr>
            <a:picLocks noRot="1" noChangeAspect="1"/>
          </p:cNvPicPr>
          <p:nvPr>
            <a:videoFile r:link="rId3"/>
          </p:nvPr>
        </p:nvPicPr>
        <p:blipFill>
          <a:blip r:embed="rId8"/>
          <a:stretch>
            <a:fillRect/>
          </a:stretch>
        </p:blipFill>
        <p:spPr>
          <a:xfrm>
            <a:off x="3020784" y="1255717"/>
            <a:ext cx="6584636" cy="3703858"/>
          </a:xfrm>
          <a:prstGeom prst="rect">
            <a:avLst/>
          </a:prstGeom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E2A82DFB-082B-4197-892F-971E820CCABC}"/>
              </a:ext>
            </a:extLst>
          </p:cNvPr>
          <p:cNvSpPr/>
          <p:nvPr/>
        </p:nvSpPr>
        <p:spPr>
          <a:xfrm>
            <a:off x="3020784" y="4959575"/>
            <a:ext cx="64366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600" dirty="0">
                <a:hlinkClick r:id="rId9"/>
              </a:rPr>
              <a:t>https://www.youtube.com/watch?time_continue=9&amp;v=WYqmrvTUpA0</a:t>
            </a:r>
            <a:endParaRPr lang="da-DK" sz="1600" dirty="0"/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3F6DC21B-C110-45AD-B17D-47C8C8F17D24}"/>
              </a:ext>
            </a:extLst>
          </p:cNvPr>
          <p:cNvSpPr txBox="1"/>
          <p:nvPr/>
        </p:nvSpPr>
        <p:spPr>
          <a:xfrm>
            <a:off x="3020784" y="5721185"/>
            <a:ext cx="3793684" cy="369332"/>
          </a:xfrm>
          <a:prstGeom prst="rect">
            <a:avLst/>
          </a:prstGeom>
        </p:spPr>
        <p:txBody>
          <a:bodyPr rot="0" spcFirstLastPara="0" vertOverflow="overflow" horzOverflow="overflow" vert="horz" wrap="square" lIns="109728" tIns="54864" rIns="109728" bIns="54864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1680" dirty="0">
                <a:cs typeface="Calibri"/>
              </a:rPr>
              <a:t>Læs mere om Aula på </a:t>
            </a:r>
            <a:r>
              <a:rPr lang="da-DK" sz="1680" dirty="0">
                <a:cs typeface="Calibri"/>
                <a:hlinkClick r:id="rId10"/>
              </a:rPr>
              <a:t>www.aulainfo.dk</a:t>
            </a:r>
            <a:r>
              <a:rPr lang="da-DK" sz="1680" dirty="0">
                <a:cs typeface="Calibr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0264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381BC3-C6D4-4973-B551-4557B691BF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0381BC3-C6D4-4973-B551-4557B691B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FFED74B2-453B-4AAF-AD1A-260C237E77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960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88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F073DF6-58B2-48F5-A0E1-30D9E18E2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267" y="1049464"/>
            <a:ext cx="10515600" cy="725028"/>
          </a:xfrm>
        </p:spPr>
        <p:txBody>
          <a:bodyPr>
            <a:normAutofit fontScale="90000"/>
          </a:bodyPr>
          <a:lstStyle/>
          <a:p>
            <a:r>
              <a:rPr lang="da-DK" dirty="0"/>
              <a:t>Vi skal rydde op, inden Aula erstatter </a:t>
            </a:r>
            <a:r>
              <a:rPr lang="da-DK" dirty="0" err="1"/>
              <a:t>ForældreIntra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FD14BA7C-0CEA-4A75-994F-94E49ABDA5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vergangen fra SkoleIntra til Aula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0D28560E-0888-4A80-8699-B3A441455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26895" y="2118561"/>
            <a:ext cx="9146780" cy="3996489"/>
          </a:xfrm>
        </p:spPr>
        <p:txBody>
          <a:bodyPr>
            <a:normAutofit lnSpcReduction="10000"/>
          </a:bodyPr>
          <a:lstStyle/>
          <a:p>
            <a:r>
              <a:rPr lang="da-DK" sz="2400" dirty="0"/>
              <a:t>Noget indhold bliver flyttet automatisk til Aula.</a:t>
            </a:r>
            <a:br>
              <a:rPr lang="da-DK" sz="2400" dirty="0"/>
            </a:br>
            <a:endParaRPr lang="da-DK" sz="2400" dirty="0"/>
          </a:p>
          <a:p>
            <a:r>
              <a:rPr lang="da-DK" sz="2400" dirty="0"/>
              <a:t>Du skal tage stilling til, om der er indhold, som du vil gemme, og du skal hjælpe dit barn med at gemme indhold fra </a:t>
            </a:r>
            <a:r>
              <a:rPr lang="da-DK" sz="2400" dirty="0" err="1"/>
              <a:t>ElevIntra</a:t>
            </a:r>
            <a:r>
              <a:rPr lang="da-DK" sz="2400" dirty="0"/>
              <a:t>.</a:t>
            </a:r>
          </a:p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endParaRPr lang="da-DK" sz="2400" dirty="0"/>
          </a:p>
          <a:p>
            <a:pPr lvl="1" indent="0">
              <a:buNone/>
            </a:pPr>
            <a:r>
              <a:rPr lang="da-DK" b="1" dirty="0"/>
              <a:t>   Vent med at gå i gang! I får mere information og vejledninger i       	god tid. </a:t>
            </a:r>
          </a:p>
          <a:p>
            <a:pPr marL="342900" indent="-342900"/>
            <a:endParaRPr lang="da-DK" sz="1400" dirty="0"/>
          </a:p>
        </p:txBody>
      </p:sp>
      <p:pic>
        <p:nvPicPr>
          <p:cNvPr id="9" name="Grafik 8" descr="Del">
            <a:extLst>
              <a:ext uri="{FF2B5EF4-FFF2-40B4-BE49-F238E27FC236}">
                <a16:creationId xmlns:a16="http://schemas.microsoft.com/office/drawing/2014/main" id="{25E29040-34A9-4DB0-8C2B-C3EDF1940DF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8097" y="2082870"/>
            <a:ext cx="623688" cy="623688"/>
          </a:xfrm>
          <a:prstGeom prst="rect">
            <a:avLst/>
          </a:prstGeom>
        </p:spPr>
      </p:pic>
      <p:pic>
        <p:nvPicPr>
          <p:cNvPr id="11" name="Grafik 10" descr="Information">
            <a:extLst>
              <a:ext uri="{FF2B5EF4-FFF2-40B4-BE49-F238E27FC236}">
                <a16:creationId xmlns:a16="http://schemas.microsoft.com/office/drawing/2014/main" id="{40008312-AA8E-4F05-B9F3-48BFC7A468D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18325" y="4747805"/>
            <a:ext cx="1512463" cy="1512463"/>
          </a:xfrm>
          <a:prstGeom prst="rect">
            <a:avLst/>
          </a:prstGeom>
        </p:spPr>
      </p:pic>
      <p:pic>
        <p:nvPicPr>
          <p:cNvPr id="13" name="Grafik 12" descr="Download">
            <a:extLst>
              <a:ext uri="{FF2B5EF4-FFF2-40B4-BE49-F238E27FC236}">
                <a16:creationId xmlns:a16="http://schemas.microsoft.com/office/drawing/2014/main" id="{6B46CEE3-86C5-496F-9A0B-D6AA7F62D32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76756" y="2846811"/>
            <a:ext cx="725029" cy="72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978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C1354C2-9E0A-484E-B8CB-C6B5250D8D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C1354C2-9E0A-484E-B8CB-C6B5250D8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8DC8A926-5D39-4FB9-BA9E-CBF98B8B0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960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880" b="1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7B4B11-5324-4EFB-8237-DB9087BC0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I får hjælp til at komme på Aula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4C27B26-BD76-44C2-A508-CF16F9A467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Overgangen fra SkoleIntra til Aula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7D129FF1-21B0-4ACC-8196-7FA3A13800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/>
            <a:r>
              <a:rPr lang="da-DK" sz="3200" dirty="0"/>
              <a:t>Informationsmaterialer</a:t>
            </a:r>
          </a:p>
          <a:p>
            <a:pPr marL="342900" indent="-342900"/>
            <a:r>
              <a:rPr lang="da-DK" sz="3200" dirty="0"/>
              <a:t>Undervisningsmaterialer</a:t>
            </a:r>
          </a:p>
          <a:p>
            <a:pPr marL="342900" indent="-342900"/>
            <a:r>
              <a:rPr lang="da-DK" sz="3200" dirty="0"/>
              <a:t>Elevkampagne ”Forældreloggerne”</a:t>
            </a:r>
          </a:p>
          <a:p>
            <a:pPr marL="342900" indent="-342900"/>
            <a:r>
              <a:rPr lang="da-DK" sz="3200" dirty="0"/>
              <a:t>Hjælp på skolen</a:t>
            </a:r>
          </a:p>
          <a:p>
            <a:pPr marL="342900" indent="-34290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186302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1C62ED8-F241-4793-9962-E44E23630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1C62ED8-F241-4793-9962-E44E23630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">
            <a:extLst>
              <a:ext uri="{FF2B5EF4-FFF2-40B4-BE49-F238E27FC236}">
                <a16:creationId xmlns:a16="http://schemas.microsoft.com/office/drawing/2014/main" id="{A1E4B7B6-7A65-4433-9969-4512045B8005}"/>
              </a:ext>
            </a:extLst>
          </p:cNvPr>
          <p:cNvSpPr txBox="1">
            <a:spLocks/>
          </p:cNvSpPr>
          <p:nvPr/>
        </p:nvSpPr>
        <p:spPr>
          <a:xfrm>
            <a:off x="1777366" y="1658621"/>
            <a:ext cx="8229600" cy="1199251"/>
          </a:xfrm>
          <a:prstGeom prst="rect">
            <a:avLst/>
          </a:prstGeom>
        </p:spPr>
        <p:txBody>
          <a:bodyPr vert="horz" lIns="0" tIns="0" rIns="0" bIns="0" rtlCol="0" anchor="t" anchorCtr="0">
            <a:normAutofit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endParaRPr lang="da-DK" sz="4800" dirty="0"/>
          </a:p>
          <a:p>
            <a:r>
              <a:rPr lang="da-DK" sz="4800" dirty="0"/>
              <a:t>Aula</a:t>
            </a:r>
          </a:p>
        </p:txBody>
      </p:sp>
      <p:sp>
        <p:nvSpPr>
          <p:cNvPr id="10" name="Undertitel 2">
            <a:extLst>
              <a:ext uri="{FF2B5EF4-FFF2-40B4-BE49-F238E27FC236}">
                <a16:creationId xmlns:a16="http://schemas.microsoft.com/office/drawing/2014/main" id="{926656EF-04C3-4E82-BA77-D6DFC7C97C8C}"/>
              </a:ext>
            </a:extLst>
          </p:cNvPr>
          <p:cNvSpPr txBox="1">
            <a:spLocks/>
          </p:cNvSpPr>
          <p:nvPr/>
        </p:nvSpPr>
        <p:spPr>
          <a:xfrm>
            <a:off x="1777366" y="3012103"/>
            <a:ext cx="8229600" cy="1655762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25425" indent="-2206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403225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225425" indent="-2206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5425" indent="-2206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160" dirty="0">
                <a:solidFill>
                  <a:schemeClr val="bg1"/>
                </a:solidFill>
              </a:rPr>
              <a:t>FÅ ET KORT INDBLIK I FUNKTIONER OG LAYOUT</a:t>
            </a:r>
          </a:p>
        </p:txBody>
      </p:sp>
    </p:spTree>
    <p:extLst>
      <p:ext uri="{BB962C8B-B14F-4D97-AF65-F5344CB8AC3E}">
        <p14:creationId xmlns:p14="http://schemas.microsoft.com/office/powerpoint/2010/main" val="154380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kjdK2VShSAnZEkbw5n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WciujJR26dUOXZXnAi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L9pJHzQACYjj9alO.5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K95u03T.Kmh0D_TdcP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WVWWPlRl2YvN4S9T2v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1bEJRoSiewwsDD0nuA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59A9C3DBC90E941A1B2808491BAB128" ma:contentTypeVersion="7" ma:contentTypeDescription="Opret et nyt dokument." ma:contentTypeScope="" ma:versionID="91d16a2933739852d253ae4ae459e1be">
  <xsd:schema xmlns:xsd="http://www.w3.org/2001/XMLSchema" xmlns:xs="http://www.w3.org/2001/XMLSchema" xmlns:p="http://schemas.microsoft.com/office/2006/metadata/properties" xmlns:ns2="16ca11c2-652e-4984-bdfe-49786aa2f500" xmlns:ns3="f26a3494-fb29-4aa4-bfb0-35341ca39cf4" targetNamespace="http://schemas.microsoft.com/office/2006/metadata/properties" ma:root="true" ma:fieldsID="770d8220dc17f23bd25660a39d935895" ns2:_="" ns3:_="">
    <xsd:import namespace="16ca11c2-652e-4984-bdfe-49786aa2f500"/>
    <xsd:import namespace="f26a3494-fb29-4aa4-bfb0-35341ca39c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a11c2-652e-4984-bdfe-49786aa2f5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a3494-fb29-4aa4-bfb0-35341ca39cf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D7214C-971D-4F67-BF63-684D469ED9C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ca11c2-652e-4984-bdfe-49786aa2f500"/>
    <ds:schemaRef ds:uri="f26a3494-fb29-4aa4-bfb0-35341ca39c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37E59E9-AC8C-4B07-87D5-991ACFD555AB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f26a3494-fb29-4aa4-bfb0-35341ca39cf4"/>
    <ds:schemaRef ds:uri="http://purl.org/dc/elements/1.1/"/>
    <ds:schemaRef ds:uri="http://schemas.microsoft.com/office/2006/metadata/properties"/>
    <ds:schemaRef ds:uri="16ca11c2-652e-4984-bdfe-49786aa2f500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EEAED48-CD5F-40C9-95FE-636237F931D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5</TotalTime>
  <Words>837</Words>
  <Application>Microsoft Office PowerPoint</Application>
  <PresentationFormat>Widescreen</PresentationFormat>
  <Paragraphs>111</Paragraphs>
  <Slides>14</Slides>
  <Notes>10</Notes>
  <HiddenSlides>0</HiddenSlides>
  <MMClips>1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4</vt:i4>
      </vt:variant>
    </vt:vector>
  </HeadingPairs>
  <TitlesOfParts>
    <vt:vector size="19" baseType="lpstr">
      <vt:lpstr>Arial</vt:lpstr>
      <vt:lpstr>Calibri</vt:lpstr>
      <vt:lpstr>Calibri Light</vt:lpstr>
      <vt:lpstr>Office-tema</vt:lpstr>
      <vt:lpstr>think-cell Slide</vt:lpstr>
      <vt:lpstr>Kære skole – Læs og fjern inden brug</vt:lpstr>
      <vt:lpstr>Aula erstatter ForældreIntra</vt:lpstr>
      <vt:lpstr>Hvad er Aula</vt:lpstr>
      <vt:lpstr>Aula udtrykker fællesskab og samling</vt:lpstr>
      <vt:lpstr>Hvad får vi med Aula?</vt:lpstr>
      <vt:lpstr>PowerPoint-præsentation</vt:lpstr>
      <vt:lpstr>Vi skal rydde op, inden Aula erstatter ForældreIntra</vt:lpstr>
      <vt:lpstr>I får hjælp til at komme på Aula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ære skole – Læs og fjern inden brug</dc:title>
  <dc:creator>Frederikke Sofie Bech Høyer</dc:creator>
  <cp:lastModifiedBy>Frederikke Sofie Bech Høyer</cp:lastModifiedBy>
  <cp:revision>7</cp:revision>
  <dcterms:created xsi:type="dcterms:W3CDTF">2019-02-19T09:48:50Z</dcterms:created>
  <dcterms:modified xsi:type="dcterms:W3CDTF">2019-02-20T11:5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9A9C3DBC90E941A1B2808491BAB128</vt:lpwstr>
  </property>
</Properties>
</file>